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38562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1376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344694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3949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619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2367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7381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97711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3421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504355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337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5262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608141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03018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6. Jun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789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99516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3500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5398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3903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73538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34248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41730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3DC561E-B9EF-449A-A806-8A77546435A2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317758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755" y="405634"/>
            <a:ext cx="8037489" cy="1018014"/>
          </a:xfrm>
        </p:spPr>
        <p:txBody>
          <a:bodyPr/>
          <a:lstStyle/>
          <a:p>
            <a:r>
              <a:rPr lang="fr-FR" altLang="fr-FR" dirty="0"/>
              <a:t>Menor</a:t>
            </a:r>
            <a:r>
              <a:rPr dirty="0"/>
              <a:t> </a:t>
            </a:r>
            <a:r>
              <a:rPr lang="fr-FR" altLang="fr-FR" dirty="0"/>
              <a:t>indisponibilidade e maior</a:t>
            </a:r>
            <a:r>
              <a:rPr dirty="0"/>
              <a:t> </a:t>
            </a:r>
            <a:r>
              <a:rPr lang="fr-FR" altLang="fr-FR" dirty="0"/>
              <a:t>produtividade</a:t>
            </a:r>
            <a:endParaRPr lang="pt-BR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86681"/>
            <a:ext cx="7833296" cy="318384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Alavanca A/F de molde com</a:t>
            </a:r>
            <a:r>
              <a:rPr dirty="0"/>
              <a:t> </a:t>
            </a:r>
            <a:r>
              <a:rPr lang="fr-FR" altLang="fr-FR" dirty="0">
                <a:solidFill>
                  <a:srgbClr val="000000"/>
                </a:solidFill>
              </a:rPr>
              <a:t>pinça</a:t>
            </a:r>
            <a:r>
              <a:rPr dirty="0"/>
              <a:t> </a:t>
            </a:r>
            <a:r>
              <a:rPr lang="fr-FR" altLang="fr-FR" dirty="0"/>
              <a:t>hidráulica</a:t>
            </a:r>
            <a:endParaRPr lang="pt-BR" altLang="fr-FR" dirty="0">
              <a:solidFill>
                <a:srgbClr val="0000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7" y="2471501"/>
            <a:ext cx="4084115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stalação rápida e fácil.</a:t>
            </a:r>
            <a:endParaRPr lang="pt-BR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juste por meio de um únic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parafuso,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eduzindo, assim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o tempo 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disponibilida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a máquina.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Maio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id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úti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cam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 abertura/fechamento de mold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Mais de 1.000 reajuste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possíveis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</a:rPr>
              <a:t>.</a:t>
            </a:r>
            <a:endParaRPr lang="pt-BR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3" y="2471501"/>
            <a:ext cx="4029829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Um elemento 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pert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hidráulic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TP-EXPRESS com um único parafus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único parafus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tegrad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n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istema 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bertura / fechament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 mold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ubstitui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istema de travament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cônic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original.</a:t>
            </a:r>
            <a:endParaRPr lang="pt-BR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6" y="6382128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Eficiência, manutenção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amento: sopradoras Matrix 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o catálogo: 2023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7"/>
            <a:ext cx="1353005" cy="34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fr-FR" altLang="fr-FR" sz="754" b="0" dirty="0">
                <a:solidFill>
                  <a:srgbClr val="FF6600"/>
                </a:solidFill>
                <a:latin typeface="Arial" panose="020B0604020202020204" pitchFamily="34" charset="0"/>
              </a:rPr>
              <a:t>SISTEMA DE AJUSTE RÁPIDO COM UM ÚNICO PARAFUSO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A0E18F63-C7D1-4FB2-8803-B3B66265AA12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271916BD-8C71-48D6-8716-AE1B81E7B998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4046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111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Menor indisponibilidade e maior produtividade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9</cp:revision>
  <cp:lastPrinted>2016-08-02T08:13:06Z</cp:lastPrinted>
  <dcterms:created xsi:type="dcterms:W3CDTF">2009-07-10T13:59:45Z</dcterms:created>
  <dcterms:modified xsi:type="dcterms:W3CDTF">2020-06-26T12:4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40:28.104058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4T16:58:55.9290524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4T16:58:55.9290524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